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0"/>
  </p:sldMasterIdLst>
  <p:notesMasterIdLst>
    <p:notesMasterId r:id="rId16"/>
  </p:notesMasterIdLst>
  <p:sldIdLst>
    <p:sldId id="446" r:id="rId11"/>
    <p:sldId id="447" r:id="rId12"/>
    <p:sldId id="448" r:id="rId13"/>
    <p:sldId id="449" r:id="rId14"/>
    <p:sldId id="450" r:id="rId15"/>
  </p:sldIdLst>
  <p:sldSz cx="9144000" cy="5143500" type="screen16x9"/>
  <p:notesSz cx="6858000" cy="9144000"/>
  <p:embeddedFontLst>
    <p:embeddedFont>
      <p:font typeface="Exo" panose="020B0604020202020204" charset="0"/>
      <p:regular r:id="rId17"/>
      <p:bold r:id="rId18"/>
      <p:italic r:id="rId19"/>
      <p:boldItalic r:id="rId20"/>
    </p:embeddedFont>
    <p:embeddedFont>
      <p:font typeface="Playfair Display SemiBold" panose="020B0604020202020204" charset="0"/>
      <p:regular r:id="rId21"/>
      <p:bold r:id="rId22"/>
      <p:italic r:id="rId23"/>
      <p:boldItalic r:id="rId2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9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351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3.xml"/><Relationship Id="rId18" Type="http://schemas.openxmlformats.org/officeDocument/2006/relationships/font" Target="fonts/font2.fntdata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8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font" Target="fonts/font8.fntdata"/><Relationship Id="rId79" Type="http://customschemas.google.com/relationships/presentationmetadata" Target="metadata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font" Target="fonts/font7.fntdata"/><Relationship Id="rId82" Type="http://schemas.openxmlformats.org/officeDocument/2006/relationships/theme" Target="theme/theme1.xml"/><Relationship Id="rId10" Type="http://schemas.openxmlformats.org/officeDocument/2006/relationships/slideMaster" Target="slideMasters/slideMaster1.xml"/><Relationship Id="rId19" Type="http://schemas.openxmlformats.org/officeDocument/2006/relationships/font" Target="fonts/font3.fntdata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D32C3C9-73D5-B810-5E2B-7318A1E27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F75B217-B65D-007B-54FA-C4079F0D99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D7BE4D98-FFA1-29A3-A206-AC7D4161983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84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2A2977D-415B-5704-94F9-7FD308D67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9DCA5650-5351-55F7-A020-B938C4D244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030E34C-3180-C706-9973-ED7AD396D9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3175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4374BF3E-BDCB-9EE7-BEAD-F23DCC893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F7C148CD-6B5F-E7F5-1D42-E185EC7A1E8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8155D75B-E9F9-ECF8-1343-9DADDBE910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252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AB2889EC-AFE9-0E5F-B95A-BEE24CA44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DE623176-01BC-64D2-C7D4-FD2ACCA9BD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CB086E4A-FD8C-8583-22D9-3C3816BFC3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765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7F5FB3D1-7D71-47F6-EA34-8D3584A17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3FB8638-3E53-B505-97C6-291A993FEA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DFC1D02-9687-C735-104C-FFA958365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606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69" imgH="469" progId="TCLayout.ActiveDocument.1">
                  <p:embed/>
                </p:oleObj>
              </mc:Choice>
              <mc:Fallback>
                <p:oleObj name="think-cell Slide" r:id="rId13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3B159A9-41CA-1483-D8A9-D082F3402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F85493C-ED6C-6320-9211-A39AE75CB8E5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1505A6FE-6213-EFA4-6789-B2FB70D8574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88B9A19B-9C83-5891-9B24-8FF3B7E58CDD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8E697DA2-70EE-4F0C-9299-EDC00228795B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>
            <a:extLst>
              <a:ext uri="{FF2B5EF4-FFF2-40B4-BE49-F238E27FC236}">
                <a16:creationId xmlns:a16="http://schemas.microsoft.com/office/drawing/2014/main" id="{D1ABD15B-4E08-0336-5518-62D2C70F9791}"/>
              </a:ext>
            </a:extLst>
          </p:cNvPr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>
            <a:extLst>
              <a:ext uri="{FF2B5EF4-FFF2-40B4-BE49-F238E27FC236}">
                <a16:creationId xmlns:a16="http://schemas.microsoft.com/office/drawing/2014/main" id="{1DBE8A85-704B-73D0-D94F-698CC1B1DBE4}"/>
              </a:ext>
            </a:extLst>
          </p:cNvPr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A6EF1978-17B6-60BA-F77C-F456F9560D8A}"/>
              </a:ext>
            </a:extLst>
          </p:cNvPr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FAC142AF-CB38-B225-71EA-B24ABC79973A}"/>
              </a:ext>
            </a:extLst>
          </p:cNvPr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5F2AF73-A8DC-2929-A458-AB04A61ED9C9}"/>
              </a:ext>
            </a:extLst>
          </p:cNvPr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>
            <a:extLst>
              <a:ext uri="{FF2B5EF4-FFF2-40B4-BE49-F238E27FC236}">
                <a16:creationId xmlns:a16="http://schemas.microsoft.com/office/drawing/2014/main" id="{17BFF922-4B05-3933-9928-62E11670443C}"/>
              </a:ext>
            </a:extLst>
          </p:cNvPr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>
            <a:extLst>
              <a:ext uri="{FF2B5EF4-FFF2-40B4-BE49-F238E27FC236}">
                <a16:creationId xmlns:a16="http://schemas.microsoft.com/office/drawing/2014/main" id="{16865DAC-2033-BC1E-A72D-238771AF2490}"/>
              </a:ext>
            </a:extLst>
          </p:cNvPr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>
            <a:extLst>
              <a:ext uri="{FF2B5EF4-FFF2-40B4-BE49-F238E27FC236}">
                <a16:creationId xmlns:a16="http://schemas.microsoft.com/office/drawing/2014/main" id="{86BB410D-44C0-8ECA-8BDF-CD4F54D6A5D2}"/>
              </a:ext>
            </a:extLst>
          </p:cNvPr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>
            <a:extLst>
              <a:ext uri="{FF2B5EF4-FFF2-40B4-BE49-F238E27FC236}">
                <a16:creationId xmlns:a16="http://schemas.microsoft.com/office/drawing/2014/main" id="{4C125390-3A30-81F1-97EA-93984D92DA2D}"/>
              </a:ext>
            </a:extLst>
          </p:cNvPr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>
            <a:extLst>
              <a:ext uri="{FF2B5EF4-FFF2-40B4-BE49-F238E27FC236}">
                <a16:creationId xmlns:a16="http://schemas.microsoft.com/office/drawing/2014/main" id="{77982583-EB01-A9B4-FFF4-F5DCDD61689B}"/>
              </a:ext>
            </a:extLst>
          </p:cNvPr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>
            <a:extLst>
              <a:ext uri="{FF2B5EF4-FFF2-40B4-BE49-F238E27FC236}">
                <a16:creationId xmlns:a16="http://schemas.microsoft.com/office/drawing/2014/main" id="{D7A86A00-D203-5078-69CE-BC7B9B0ABA11}"/>
              </a:ext>
            </a:extLst>
          </p:cNvPr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>
            <a:extLst>
              <a:ext uri="{FF2B5EF4-FFF2-40B4-BE49-F238E27FC236}">
                <a16:creationId xmlns:a16="http://schemas.microsoft.com/office/drawing/2014/main" id="{C488382B-1D3B-FD53-8D39-7858A5DFAE55}"/>
              </a:ext>
            </a:extLst>
          </p:cNvPr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>
            <a:extLst>
              <a:ext uri="{FF2B5EF4-FFF2-40B4-BE49-F238E27FC236}">
                <a16:creationId xmlns:a16="http://schemas.microsoft.com/office/drawing/2014/main" id="{0D68A2A8-F6F0-B936-83A8-B586EDC770CA}"/>
              </a:ext>
            </a:extLst>
          </p:cNvPr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>
            <a:extLst>
              <a:ext uri="{FF2B5EF4-FFF2-40B4-BE49-F238E27FC236}">
                <a16:creationId xmlns:a16="http://schemas.microsoft.com/office/drawing/2014/main" id="{41F0FB6F-8BD2-20E6-314A-742D261E43DA}"/>
              </a:ext>
            </a:extLst>
          </p:cNvPr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>
            <a:extLst>
              <a:ext uri="{FF2B5EF4-FFF2-40B4-BE49-F238E27FC236}">
                <a16:creationId xmlns:a16="http://schemas.microsoft.com/office/drawing/2014/main" id="{6C379C7F-B265-73FD-CA4C-ED4544FF0878}"/>
              </a:ext>
            </a:extLst>
          </p:cNvPr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>
            <a:extLst>
              <a:ext uri="{FF2B5EF4-FFF2-40B4-BE49-F238E27FC236}">
                <a16:creationId xmlns:a16="http://schemas.microsoft.com/office/drawing/2014/main" id="{84210035-BA41-DD09-9535-1001A2DBA2B3}"/>
              </a:ext>
            </a:extLst>
          </p:cNvPr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>
            <a:extLst>
              <a:ext uri="{FF2B5EF4-FFF2-40B4-BE49-F238E27FC236}">
                <a16:creationId xmlns:a16="http://schemas.microsoft.com/office/drawing/2014/main" id="{EB4E0BB1-45AE-3BDE-D1B9-51EB1C63DABA}"/>
              </a:ext>
            </a:extLst>
          </p:cNvPr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>
            <a:extLst>
              <a:ext uri="{FF2B5EF4-FFF2-40B4-BE49-F238E27FC236}">
                <a16:creationId xmlns:a16="http://schemas.microsoft.com/office/drawing/2014/main" id="{B6FCB876-0CF5-203C-A9F6-571EE31E4F0E}"/>
              </a:ext>
            </a:extLst>
          </p:cNvPr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1AB887E-B19F-A827-7820-9112F7646E55}"/>
              </a:ext>
            </a:extLst>
          </p:cNvPr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CAB15464-48D6-0110-842A-B17FA561E3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C378156-20A2-3677-08A1-9E1280DD912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>
            <a:extLst>
              <a:ext uri="{FF2B5EF4-FFF2-40B4-BE49-F238E27FC236}">
                <a16:creationId xmlns:a16="http://schemas.microsoft.com/office/drawing/2014/main" id="{B3573E99-0730-E53E-17D1-4CCCA4697A0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>
            <a:extLst>
              <a:ext uri="{FF2B5EF4-FFF2-40B4-BE49-F238E27FC236}">
                <a16:creationId xmlns:a16="http://schemas.microsoft.com/office/drawing/2014/main" id="{2626E8D4-6C91-F7C8-2012-AAE9E64C067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>
            <a:extLst>
              <a:ext uri="{FF2B5EF4-FFF2-40B4-BE49-F238E27FC236}">
                <a16:creationId xmlns:a16="http://schemas.microsoft.com/office/drawing/2014/main" id="{32F9B2FC-D974-E1CD-4545-73D9919E284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>
            <a:extLst>
              <a:ext uri="{FF2B5EF4-FFF2-40B4-BE49-F238E27FC236}">
                <a16:creationId xmlns:a16="http://schemas.microsoft.com/office/drawing/2014/main" id="{1788C800-C445-B6D8-D6E0-F7EA52EB7D6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>
            <a:extLst>
              <a:ext uri="{FF2B5EF4-FFF2-40B4-BE49-F238E27FC236}">
                <a16:creationId xmlns:a16="http://schemas.microsoft.com/office/drawing/2014/main" id="{4FA0FF8D-A4A6-6B2B-AD26-C110A4D7529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>
            <a:extLst>
              <a:ext uri="{FF2B5EF4-FFF2-40B4-BE49-F238E27FC236}">
                <a16:creationId xmlns:a16="http://schemas.microsoft.com/office/drawing/2014/main" id="{611E87DB-6A2E-F514-8E90-6F3A268B34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>
            <a:extLst>
              <a:ext uri="{FF2B5EF4-FFF2-40B4-BE49-F238E27FC236}">
                <a16:creationId xmlns:a16="http://schemas.microsoft.com/office/drawing/2014/main" id="{B9059D5F-0CB6-D66A-F7FC-0F15A8646DA7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>
            <a:extLst>
              <a:ext uri="{FF2B5EF4-FFF2-40B4-BE49-F238E27FC236}">
                <a16:creationId xmlns:a16="http://schemas.microsoft.com/office/drawing/2014/main" id="{9805DB58-4B37-951E-0ECD-76861A7D7619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17AE99E-BC1D-CB06-93F7-DE41FBAF18A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8D2A8B86-F16D-5636-AAB0-DB55CAC9884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6FEC644-E294-EE43-2BE9-C652D4ED1E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D428603-F63C-D91A-566B-68F8CEBD3A6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ABF5F888-0C54-A849-2620-7D265EF6C9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F231FDD0-4DF9-17F4-06E4-833C130C9B9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41CAB45-C594-51F1-1BFA-0DC603D0661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656CB045-D2BE-F6A6-46EA-154039BCBC7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8AFE7EF-5EE2-62DB-3B65-47AF99A0502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157099B8-85AC-3147-9D9D-9C335D0B852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317EF5B-D8F0-5B18-EAA1-8B6B668F59D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F44A3A3-8F3D-F255-80C9-5FFA7C77D52E}"/>
              </a:ext>
            </a:extLst>
          </p:cNvPr>
          <p:cNvSpPr txBox="1"/>
          <p:nvPr/>
        </p:nvSpPr>
        <p:spPr>
          <a:xfrm>
            <a:off x="7661100" y="-2977"/>
            <a:ext cx="1482900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ctual slide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</p:spTree>
    <p:extLst>
      <p:ext uri="{BB962C8B-B14F-4D97-AF65-F5344CB8AC3E}">
        <p14:creationId xmlns:p14="http://schemas.microsoft.com/office/powerpoint/2010/main" val="1775925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CFA70ACB-8431-15CE-0F27-EF0A6E9FD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5BAE03-0318-4870-FB78-7225B5320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45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10C14A9-A509-8C3F-C123-2291543EAC90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652AC9-B701-D214-AFAB-A1D3109626C4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suppliers&gt;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C96AA206-585A-CA71-E937-DAB449165510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E1428D6D-8EB2-61C7-514A-8898C185DA5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D2658C7-9F35-66AD-F373-F77C7E70E8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7ACC6C6B-103D-C695-AF92-C0E2686DDB9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A8165329-FA1F-69A1-0A85-430296D8948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02186CF-BA63-D508-9F5E-436CEFE85742}"/>
              </a:ext>
            </a:extLst>
          </p:cNvPr>
          <p:cNvSpPr txBox="1"/>
          <p:nvPr/>
        </p:nvSpPr>
        <p:spPr>
          <a:xfrm>
            <a:off x="6281644" y="538548"/>
            <a:ext cx="2790497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1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D68735F2-30D5-C663-036C-EE4787083796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607939-E954-FE49-347D-9BEF63EC7B52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&lt;divider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E8CB453A-D3CB-9CC0-EEC8-787F7B4A099C}"/>
              </a:ext>
            </a:extLst>
          </p:cNvPr>
          <p:cNvSpPr txBox="1"/>
          <p:nvPr/>
        </p:nvSpPr>
        <p:spPr>
          <a:xfrm>
            <a:off x="7171100" y="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152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5056A2B-3CB7-30D4-7A18-9FE9B70DC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2B9A29-B92A-A70F-6A94-D18029DEE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BAE03-0318-4870-FB78-7225B5320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7DBC29-253F-E77B-1545-83F10861A1B8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AE6858-B650-37B7-FC3A-76602ACFAD90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DB57D103-21CE-9522-93B8-A6EBD4A6903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462E66A-3BA8-D70A-8F2E-AFFE10E9CF6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406B289F-FAD0-80E3-B2DC-2E199CA3E0B2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648E2C0-F57F-1424-2807-057C18E47AB5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EA42790D-20DE-CCBB-0D40-8E7B5DE4257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07CCA59-0D3F-7AF2-60B1-1E0CEE73BD27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tx1"/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7218899B-9E52-838D-098B-3350CE9AE3F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D7ECF6C-68AF-8259-C704-711B950F21C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2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 1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36BB4E5F-BB48-30B4-1CB5-63A513ECDE5C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1DE4E2-627C-7114-E0AE-AC1B8B16162A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BBD5F9-3F09-264C-1372-91EEF8BA8DA8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E18555-EC2E-C51E-C61E-AA6F9D27BDBA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05A15B-486C-C941-A765-D9760B1CC904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FA387DFE-96C2-7F5D-86D1-41A680C3936C}"/>
              </a:ext>
            </a:extLst>
          </p:cNvPr>
          <p:cNvSpPr txBox="1"/>
          <p:nvPr/>
        </p:nvSpPr>
        <p:spPr>
          <a:xfrm>
            <a:off x="7244197" y="-12157"/>
            <a:ext cx="1898013" cy="307736"/>
          </a:xfrm>
          <a:prstGeom prst="rect">
            <a:avLst/>
          </a:prstGeom>
          <a:noFill/>
          <a:ln w="6350"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DD971-5C75-019B-FE4D-7D1BCB50FE7F}"/>
              </a:ext>
            </a:extLst>
          </p:cNvPr>
          <p:cNvSpPr/>
          <p:nvPr/>
        </p:nvSpPr>
        <p:spPr>
          <a:xfrm>
            <a:off x="638503" y="3861936"/>
            <a:ext cx="3066194" cy="27310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C44CB-85AF-257F-F802-638E3BEE1A86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465D57-9252-79D3-C437-14B81974E230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BC2B94-BD4C-D5D8-29AD-523739004B1A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4E39A7-37A0-EEF0-EF30-A61D41261AB8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</p:spTree>
    <p:extLst>
      <p:ext uri="{BB962C8B-B14F-4D97-AF65-F5344CB8AC3E}">
        <p14:creationId xmlns:p14="http://schemas.microsoft.com/office/powerpoint/2010/main" val="1929877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DB72780-D7F8-4BCF-1C42-ADFC86B76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CEB79D-CEF8-3073-C090-B0F9DB7BB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39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B9A29-B92A-A70F-6A94-D18029DEE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2CF2F1B-681C-6DAF-3C4B-05A261DEEAF3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53B397-451E-5FDB-09E5-C162896AB643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212DA8D-D024-7814-B204-2705A9187099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45F01461-BFD3-3322-52F3-11E34E23B59A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3C69FA6-EE89-60F3-D459-4924FF17E2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9CB3ECF-494F-BA18-AA3D-EE69A0591150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13981254-ACE1-826F-08D4-563BA6F2B9A8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3F3B17EF-3053-D36A-0D9A-0B79D48A5A49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EBD6AB9-492B-00C7-4ECA-2C8544585125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804AF95-B929-28E0-7834-8A3C688DDC3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3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 and 2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C45AD52F-7BBD-24D9-6FFF-0FA276360E2E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F7E17C-BBEA-F6A0-7E91-3F2B775DBA6F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9B48E5-8C0C-0CED-10D5-DE089F53AE23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9DF2F5-D63F-DFB0-AA91-746F30741E02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9795C4-1736-CDFB-AAB0-4B5991E07958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420C406D-FB24-22EA-AA39-76159450E0F3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16ECE9-B957-D225-A352-04FD477D0F88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B79CA3D-D611-D83D-37EF-503B368C0D99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20E822-5507-6100-F2B9-50C3EC1C7E84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1B463B-8AA8-F96D-E5AE-050A0CDD6725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5A57C8-7644-1402-69DF-2E06DC4C9F7F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C1A5C-9C19-9819-E35C-82FDCA2A1CBA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F3B2B9-B8FC-BA5A-E1A4-B6DE5D100DDE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98F146D-D445-3EAE-C768-8BDDE19667FA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67D5E-DB21-F7BC-3AA2-1B772390A4F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tsmc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504F3EC-93DE-1B6D-25D8-888B8C069485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umclogo</a:t>
            </a:r>
            <a:r>
              <a:rPr lang="en-US" sz="600" dirty="0">
                <a:solidFill>
                  <a:schemeClr val="tx1"/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6D8F33-336F-BD09-F089-D8D439FE8EB8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1613A3-774D-B45A-3579-2237DA0FFC27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mkor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7C72B54-471D-F448-DA97-43DE86D1869B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7D2C79-C635-C1E2-3DC7-D3D1BFED9840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B527E3-CF7D-36FA-8028-509FCB6AE4E1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9D0D609-BEA1-0FD0-1766-87383441E972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0B8FAD-93E9-443C-7086-B34FB87371D4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tp</a:t>
            </a:r>
            <a:r>
              <a:rPr lang="en-US" sz="600" dirty="0">
                <a:solidFill>
                  <a:schemeClr val="tx1"/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164CA8-4F88-34D8-0450-25D6715B03B1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EFBFE1-2396-3DE4-F336-5AFC8B33EA04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36A79B-0DA3-EAFA-5CEE-9E26C3566CCB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E5EF5EA-C3F0-0FED-609C-C69414423B0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D492A8E-39F1-68CE-ABB0-335A02525B83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9E1BDE-26FE-870C-082F-931C7AFB13D6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DD24AF-91A6-B86F-3D38-046960F97D47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9A3CF45-9ED8-26A0-F6D2-6029D9071A4F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E7E614-BDE0-F638-B521-872AD28A1FC8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DBB02DC-AA21-DB3F-A451-04B8AC11B396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007EA4A-CB68-D069-F5B8-70FC1EBFEEC1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D4428D5-E833-0009-CF16-94A9782D1ED3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780189-42D4-7718-9F74-A4ECE191619E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quipment firms&gt;</a:t>
            </a:r>
          </a:p>
        </p:txBody>
      </p:sp>
    </p:spTree>
    <p:extLst>
      <p:ext uri="{BB962C8B-B14F-4D97-AF65-F5344CB8AC3E}">
        <p14:creationId xmlns:p14="http://schemas.microsoft.com/office/powerpoint/2010/main" val="1626930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83470EA7-B2B5-F307-8B45-99B4158B6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8423A0-67C8-DFB3-9670-4828143E1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EB79D-CEF8-3073-C090-B0F9DB7BB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9675518-B5C6-B3C4-F50B-432C83143041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0EA8C3-CCB3-EA71-B5B7-D23F89906838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9FCEAECF-5612-5A21-6032-E6143F7C1F3A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92BCB273-11D9-925D-471E-7D9C227F32D5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B2BE564F-B766-73FA-B72D-708A9B8DF563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DCFEB020-EC73-26BA-ADFB-FE756A762161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2C5D9C85-CCD1-07F1-7206-4A91C17531B5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BB06C0BD-09C4-EF08-561D-B23C22E9B332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396CD3CE-60C6-E1E9-732E-6D201EDDE33E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51FDA02-9FF3-DC0A-3C72-C0BAA57393A3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4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, 2, 3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66DEF607-5ADD-5A83-A932-AF15DE0AC355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DD39C0-3D7E-AE20-B182-9FDE3A2BCF2B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397B22-A571-A51B-2A98-97AFD9D41109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24B44-8C68-BAA8-8079-0B735303008E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AC75A-A0A4-E452-B2E6-64DF5D93A83B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9BDBCDC0-DD89-1CF7-A0E2-63C9650B2078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15469F-68B3-85DC-57A5-E53DB00BBE21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73CE31-0AAB-90C1-7245-C9BBC9FD5457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2024DF-F57D-A066-2F9C-5CF8FE2B7AB3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97F3F0F-82C3-5FE0-95DA-682ED49FEA9D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DDDC05-5792-CED4-8BD9-68DF49C11F97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23E4A-F62C-8F8C-CB14-0AD93BA5C6C0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7DADA5-E4A5-100D-9E74-96FD20DB1965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407D68-7848-7B13-3297-8692B18D319F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9C5019-3FC7-BCA6-0483-22525D53CE4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tsmc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FECD14-2833-0B17-1F29-CF24D4A08B72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umclogo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7E71B9-49DF-AD71-4FBE-EC6240C2D752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93D276-7950-8A40-CF50-FD5C8F3479A6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mkor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BB68C29-18FB-F79C-D981-C598E660C462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392C9BC-78E6-2222-7E45-255B1207CA7E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5A09EE-8264-B06F-E1D0-C742419DF672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E875E93-0926-EBEC-129C-C3C3FB02B334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F547B0B-BF1B-6B6C-89FB-174BBC014C92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tp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D612C4-0BFC-74E7-F224-753C91623A57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5A9198-3DCD-39BC-DF6D-7045FAF38881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5C8F40B-4F10-355A-CA0A-9EF2B01144EF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4B4BB63-8162-487D-6CFD-ADB285A1FE5E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0B7D8FD-0F8F-F1C0-687B-64908F748F0C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25798C-51EA-F115-2F76-850BAC5FD449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1FA8CFD-2156-D26D-4A57-8C4A0334C294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98D2C94-0F2E-53B5-E480-108E617E3F15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BA83C9-F431-3E6D-4FF5-D1A98417EACD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779E656-FFD6-0CC3-0D99-A13B7D3E1754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D164D6E-2704-4166-97B6-949A8C53B6AA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60FF6C6-8082-4BEE-FF66-83F6A9EC3CF6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4266278-DB17-0F78-DC43-8304768E34FF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quipment firms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98D52-5EF9-01DA-FC98-1C864C5D7913}"/>
              </a:ext>
            </a:extLst>
          </p:cNvPr>
          <p:cNvSpPr/>
          <p:nvPr/>
        </p:nvSpPr>
        <p:spPr>
          <a:xfrm>
            <a:off x="5415707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core IP&gt;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E6C92-7B66-F25E-5569-49E3B1AFE8C9}"/>
              </a:ext>
            </a:extLst>
          </p:cNvPr>
          <p:cNvSpPr/>
          <p:nvPr/>
        </p:nvSpPr>
        <p:spPr>
          <a:xfrm>
            <a:off x="6128549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DA&gt;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1109E1-4E73-1C52-5B55-05C9839F77E8}"/>
              </a:ext>
            </a:extLst>
          </p:cNvPr>
          <p:cNvSpPr/>
          <p:nvPr/>
        </p:nvSpPr>
        <p:spPr>
          <a:xfrm>
            <a:off x="7105644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raw materials&gt;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91F980-EADB-35FB-578D-AC23E1213AE4}"/>
              </a:ext>
            </a:extLst>
          </p:cNvPr>
          <p:cNvSpPr/>
          <p:nvPr/>
        </p:nvSpPr>
        <p:spPr>
          <a:xfrm>
            <a:off x="7781922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quipment&gt;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4BA5E2-56BC-D8AE-A6F7-A3311F1C8718}"/>
              </a:ext>
            </a:extLst>
          </p:cNvPr>
          <p:cNvSpPr/>
          <p:nvPr/>
        </p:nvSpPr>
        <p:spPr>
          <a:xfrm>
            <a:off x="5415707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rm logo&gt;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9798BE-AF37-ACC5-B349-E79A47E4CE4F}"/>
              </a:ext>
            </a:extLst>
          </p:cNvPr>
          <p:cNvSpPr/>
          <p:nvPr/>
        </p:nvSpPr>
        <p:spPr>
          <a:xfrm>
            <a:off x="5415707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imagination logo&gt;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E5D9E2-E7F5-3EE6-97C0-BA3E4663B8B6}"/>
              </a:ext>
            </a:extLst>
          </p:cNvPr>
          <p:cNvSpPr/>
          <p:nvPr/>
        </p:nvSpPr>
        <p:spPr>
          <a:xfrm>
            <a:off x="614777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cadence logo&gt;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20C83C5-4F77-204D-AC3A-9D8123E464D1}"/>
              </a:ext>
            </a:extLst>
          </p:cNvPr>
          <p:cNvSpPr/>
          <p:nvPr/>
        </p:nvSpPr>
        <p:spPr>
          <a:xfrm>
            <a:off x="614777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synopsys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F1DD4B-0D59-5FFC-8B3B-554269C983E3}"/>
              </a:ext>
            </a:extLst>
          </p:cNvPr>
          <p:cNvSpPr/>
          <p:nvPr/>
        </p:nvSpPr>
        <p:spPr>
          <a:xfrm>
            <a:off x="7085029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shin </a:t>
            </a:r>
            <a:r>
              <a:rPr lang="en-US" sz="500" dirty="0" err="1">
                <a:solidFill>
                  <a:schemeClr val="tx1"/>
                </a:solidFill>
              </a:rPr>
              <a:t>etsu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D5AC41-22F7-9F32-1D99-9C6BEEC3CA91}"/>
              </a:ext>
            </a:extLst>
          </p:cNvPr>
          <p:cNvSpPr/>
          <p:nvPr/>
        </p:nvSpPr>
        <p:spPr>
          <a:xfrm>
            <a:off x="7085029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939F01-9690-2513-D1D3-9AAA73F5ACB9}"/>
              </a:ext>
            </a:extLst>
          </p:cNvPr>
          <p:cNvSpPr/>
          <p:nvPr/>
        </p:nvSpPr>
        <p:spPr>
          <a:xfrm>
            <a:off x="778192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AT logo&gt;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DFF6335-E613-7935-1F4E-123FCEE8E194}"/>
              </a:ext>
            </a:extLst>
          </p:cNvPr>
          <p:cNvSpPr/>
          <p:nvPr/>
        </p:nvSpPr>
        <p:spPr>
          <a:xfrm>
            <a:off x="778192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etc</a:t>
            </a:r>
            <a:r>
              <a:rPr lang="en-US" sz="500" dirty="0">
                <a:solidFill>
                  <a:schemeClr val="tx1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70875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CD4B1650-B364-4A42-A9D0-D9F3ADF84129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3</TotalTime>
  <Words>795</Words>
  <Application>Microsoft Office PowerPoint</Application>
  <PresentationFormat>On-screen Show (16:9)</PresentationFormat>
  <Paragraphs>201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Playfair Display SemiBold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0</cp:revision>
  <dcterms:modified xsi:type="dcterms:W3CDTF">2025-09-14T13:40:21Z</dcterms:modified>
</cp:coreProperties>
</file>